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22"/>
  </p:notesMasterIdLst>
  <p:handoutMasterIdLst>
    <p:handoutMasterId r:id="rId23"/>
  </p:handoutMasterIdLst>
  <p:sldIdLst>
    <p:sldId id="356" r:id="rId7"/>
    <p:sldId id="385" r:id="rId8"/>
    <p:sldId id="378" r:id="rId9"/>
    <p:sldId id="379" r:id="rId10"/>
    <p:sldId id="380" r:id="rId11"/>
    <p:sldId id="381" r:id="rId12"/>
    <p:sldId id="383" r:id="rId13"/>
    <p:sldId id="382" r:id="rId14"/>
    <p:sldId id="376" r:id="rId15"/>
    <p:sldId id="375" r:id="rId16"/>
    <p:sldId id="374" r:id="rId17"/>
    <p:sldId id="370" r:id="rId18"/>
    <p:sldId id="372" r:id="rId19"/>
    <p:sldId id="373" r:id="rId20"/>
    <p:sldId id="279" r:id="rId21"/>
  </p:sldIdLst>
  <p:sldSz cx="9144000" cy="5143500" type="screen16x9"/>
  <p:notesSz cx="9925050" cy="6665913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3"/>
  </p:normalViewPr>
  <p:slideViewPr>
    <p:cSldViewPr snapToGrid="0">
      <p:cViewPr varScale="1">
        <p:scale>
          <a:sx n="107" d="100"/>
          <a:sy n="107" d="100"/>
        </p:scale>
        <p:origin x="754" y="77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6/11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5427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12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794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758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4736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3791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33407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0439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1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Präsentation für den Notenbonus in</a:t>
            </a:r>
          </a:p>
          <a:p>
            <a:r>
              <a:rPr lang="de-DE" dirty="0"/>
              <a:t>Praktikum XML-Technologie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SVG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256CF38-DE25-D84F-9D6D-FD6F0C237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1" y="1231162"/>
            <a:ext cx="7829538" cy="3332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4325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 err="1"/>
              <a:t>DocBook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4106F0-6CC1-7E45-A429-47EA60503F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30" y="1870980"/>
            <a:ext cx="7829539" cy="140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80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</a:t>
            </a:r>
          </a:p>
        </p:txBody>
      </p:sp>
      <p:pic>
        <p:nvPicPr>
          <p:cNvPr id="18" name="Grafik 17" descr="Ein Bild, das Bildschirm, Computer enthält.&#10;&#10;Automatisch generierte Beschreibung">
            <a:extLst>
              <a:ext uri="{FF2B5EF4-FFF2-40B4-BE49-F238E27FC236}">
                <a16:creationId xmlns:a16="http://schemas.microsoft.com/office/drawing/2014/main" id="{21F62656-57E6-6D4A-B8F6-2B130F85A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" y="1795101"/>
            <a:ext cx="8412480" cy="155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625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033461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 lnSpcReduction="10000"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</a:p>
          <a:p>
            <a:pPr marL="46196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Cards</a:t>
            </a:r>
          </a:p>
          <a:p>
            <a:pPr marL="46196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Table</a:t>
            </a:r>
          </a:p>
          <a:p>
            <a:pPr marL="46196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Chips</a:t>
            </a:r>
          </a:p>
          <a:p>
            <a:pPr marL="46196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 </a:t>
            </a:r>
            <a:r>
              <a:rPr lang="de-DE" dirty="0" err="1"/>
              <a:t>Processor</a:t>
            </a:r>
            <a:endParaRPr lang="de-DE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  <a:p>
            <a:pPr marL="46196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XML</a:t>
            </a:r>
          </a:p>
          <a:p>
            <a:pPr marL="46196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SVG</a:t>
            </a:r>
          </a:p>
          <a:p>
            <a:pPr marL="46196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DocBook</a:t>
            </a:r>
            <a:endParaRPr lang="de-DE" dirty="0"/>
          </a:p>
          <a:p>
            <a:pPr marL="461963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Ausblick MVC-Architecture and </a:t>
            </a:r>
            <a:r>
              <a:rPr lang="de-DE" b="1" dirty="0" err="1"/>
              <a:t>XQuery</a:t>
            </a:r>
            <a:endParaRPr lang="de-DE" b="1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8081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38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/>
              <a:t>Dokumentation ‚design </a:t>
            </a:r>
            <a:r>
              <a:rPr lang="de-DE" sz="3500" dirty="0" err="1"/>
              <a:t>choices</a:t>
            </a:r>
            <a:r>
              <a:rPr lang="de-DE" sz="3500" dirty="0"/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3371693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ards</a:t>
            </a:r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E4369A1-98D1-ED48-A09C-D8E9C25A65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483681"/>
            <a:ext cx="7955280" cy="231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459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Table</a:t>
            </a:r>
          </a:p>
        </p:txBody>
      </p:sp>
      <p:pic>
        <p:nvPicPr>
          <p:cNvPr id="9" name="Grafik 8" descr="Ein Bild, das Essen, Zeichnung enthält.&#10;&#10;Automatisch generierte Beschreibung">
            <a:extLst>
              <a:ext uri="{FF2B5EF4-FFF2-40B4-BE49-F238E27FC236}">
                <a16:creationId xmlns:a16="http://schemas.microsoft.com/office/drawing/2014/main" id="{A4DB09E4-A961-254C-A9AB-E018B963E7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091" y="1982565"/>
            <a:ext cx="8567445" cy="117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4646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Chip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3E410BE-085D-204E-B8C9-F5D4534C1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48" y="2046029"/>
            <a:ext cx="8825103" cy="105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728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SLT </a:t>
            </a:r>
            <a:r>
              <a:rPr lang="de-DE" dirty="0" err="1"/>
              <a:t>Processor</a:t>
            </a:r>
            <a:endParaRPr lang="de-DE" dirty="0"/>
          </a:p>
        </p:txBody>
      </p:sp>
      <p:pic>
        <p:nvPicPr>
          <p:cNvPr id="7" name="Grafik 6" descr="Ein Bild, das Screenshot, sitzend, Monitor, schwarz enthält.&#10;&#10;Automatisch generierte Beschreibung">
            <a:extLst>
              <a:ext uri="{FF2B5EF4-FFF2-40B4-BE49-F238E27FC236}">
                <a16:creationId xmlns:a16="http://schemas.microsoft.com/office/drawing/2014/main" id="{B5AB30A1-F8B1-4843-AE22-A1D883103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80" y="1836048"/>
            <a:ext cx="8321040" cy="1471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9126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7935" y="2417861"/>
            <a:ext cx="8508999" cy="332976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sz="3500" dirty="0"/>
              <a:t>Dokumentation ‚</a:t>
            </a:r>
            <a:r>
              <a:rPr lang="de-DE" sz="3500" dirty="0" err="1"/>
              <a:t>used</a:t>
            </a:r>
            <a:r>
              <a:rPr lang="de-DE" sz="3500" dirty="0"/>
              <a:t> </a:t>
            </a:r>
            <a:r>
              <a:rPr lang="de-DE" sz="3500" dirty="0" err="1"/>
              <a:t>technologies</a:t>
            </a:r>
            <a:r>
              <a:rPr lang="de-DE" sz="3500" dirty="0"/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3738177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91" y="745751"/>
            <a:ext cx="8508999" cy="30777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XML</a:t>
            </a:r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460A96-09D0-DD47-880D-0B75A69E3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271" y="1810474"/>
            <a:ext cx="8579457" cy="152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203</Words>
  <Application>Microsoft Office PowerPoint</Application>
  <PresentationFormat>Bildschirmpräsentation (16:9)</PresentationFormat>
  <Paragraphs>95</Paragraphs>
  <Slides>15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5</vt:i4>
      </vt:variant>
    </vt:vector>
  </HeadingPairs>
  <TitlesOfParts>
    <vt:vector size="26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Gliederung</vt:lpstr>
      <vt:lpstr>Dokumentation ‚design choices‘</vt:lpstr>
      <vt:lpstr>Cards</vt:lpstr>
      <vt:lpstr>Table</vt:lpstr>
      <vt:lpstr>Chips</vt:lpstr>
      <vt:lpstr>XSLT Processor</vt:lpstr>
      <vt:lpstr>Dokumentation ‚used technologies‘</vt:lpstr>
      <vt:lpstr>XML</vt:lpstr>
      <vt:lpstr>SVG</vt:lpstr>
      <vt:lpstr>DocBook</vt:lpstr>
      <vt:lpstr>XSLT</vt:lpstr>
      <vt:lpstr>Ausblick MVC-Architecture und XQuery</vt:lpstr>
      <vt:lpstr>Ausblick MVC-Architecture a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Markus Zuber</cp:lastModifiedBy>
  <cp:revision>53</cp:revision>
  <cp:lastPrinted>2015-07-30T14:04:45Z</cp:lastPrinted>
  <dcterms:created xsi:type="dcterms:W3CDTF">2019-11-21T08:12:12Z</dcterms:created>
  <dcterms:modified xsi:type="dcterms:W3CDTF">2019-11-26T19:11:33Z</dcterms:modified>
</cp:coreProperties>
</file>